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8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4BAEE0-0587-A801-922B-9C6B48E087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B6696954-A70B-F374-50EB-20D85103C2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696954-A70B-F374-50EB-20D85103C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0AB010-C8D2-827A-5D26-8B3122EFA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45A28E-815F-D2EC-B41B-AC23C2C8F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1758747-57D1-B8AF-DCDD-11176B9BEC3F}"/>
              </a:ext>
            </a:extLst>
          </p:cNvPr>
          <p:cNvSpPr/>
          <p:nvPr/>
        </p:nvSpPr>
        <p:spPr>
          <a:xfrm>
            <a:off x="9682326" y="3189475"/>
            <a:ext cx="1284384" cy="1284383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A3F226A-E500-60E7-8EDB-C94854D10426}"/>
              </a:ext>
            </a:extLst>
          </p:cNvPr>
          <p:cNvSpPr/>
          <p:nvPr/>
        </p:nvSpPr>
        <p:spPr>
          <a:xfrm>
            <a:off x="8837945" y="1814874"/>
            <a:ext cx="1284384" cy="1284383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07943A-39FB-CAFF-9E6C-B926934E0A36}"/>
              </a:ext>
            </a:extLst>
          </p:cNvPr>
          <p:cNvSpPr/>
          <p:nvPr/>
        </p:nvSpPr>
        <p:spPr>
          <a:xfrm>
            <a:off x="7393064" y="1331552"/>
            <a:ext cx="1284384" cy="1284383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B394026-D832-55CD-D692-DEE11B84D0FA}"/>
              </a:ext>
            </a:extLst>
          </p:cNvPr>
          <p:cNvSpPr/>
          <p:nvPr/>
        </p:nvSpPr>
        <p:spPr>
          <a:xfrm rot="1109722">
            <a:off x="6412170" y="4086041"/>
            <a:ext cx="464245" cy="1122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8E6B53D-0AAF-82F3-05F8-74CB05C9A941}"/>
              </a:ext>
            </a:extLst>
          </p:cNvPr>
          <p:cNvSpPr/>
          <p:nvPr/>
        </p:nvSpPr>
        <p:spPr>
          <a:xfrm flipH="1">
            <a:off x="5070537" y="3188339"/>
            <a:ext cx="1284384" cy="1284383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E399668-F512-4BD8-C9AF-2C2A19AD5AD6}"/>
              </a:ext>
            </a:extLst>
          </p:cNvPr>
          <p:cNvSpPr/>
          <p:nvPr/>
        </p:nvSpPr>
        <p:spPr>
          <a:xfrm rot="3463768">
            <a:off x="6881639" y="3268459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250936D-28A4-373C-5E8F-045D6501EE28}"/>
              </a:ext>
            </a:extLst>
          </p:cNvPr>
          <p:cNvSpPr/>
          <p:nvPr/>
        </p:nvSpPr>
        <p:spPr>
          <a:xfrm flipH="1">
            <a:off x="5964753" y="1878576"/>
            <a:ext cx="1284384" cy="128438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159866F-0EBE-7FAB-DDF6-399661938DEF}"/>
              </a:ext>
            </a:extLst>
          </p:cNvPr>
          <p:cNvSpPr/>
          <p:nvPr/>
        </p:nvSpPr>
        <p:spPr>
          <a:xfrm rot="5449594">
            <a:off x="7808884" y="2929074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66E9B32-0C3D-B38B-F1F7-A2A95BE3D1FD}"/>
              </a:ext>
            </a:extLst>
          </p:cNvPr>
          <p:cNvSpPr/>
          <p:nvPr/>
        </p:nvSpPr>
        <p:spPr>
          <a:xfrm rot="18408042" flipH="1">
            <a:off x="8718111" y="3222896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99EC5B7-4AAF-47EC-597C-BD29CC2CAF8F}"/>
              </a:ext>
            </a:extLst>
          </p:cNvPr>
          <p:cNvSpPr/>
          <p:nvPr/>
        </p:nvSpPr>
        <p:spPr>
          <a:xfrm rot="1109722" flipH="1">
            <a:off x="9065090" y="4947216"/>
            <a:ext cx="464243" cy="1122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6FFED06-6868-35F3-AC9F-6593DB27423D}"/>
              </a:ext>
            </a:extLst>
          </p:cNvPr>
          <p:cNvSpPr/>
          <p:nvPr/>
        </p:nvSpPr>
        <p:spPr>
          <a:xfrm>
            <a:off x="9612788" y="4681504"/>
            <a:ext cx="1284380" cy="128438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0C183A4-F624-261D-E831-1C1486FB749C}"/>
              </a:ext>
            </a:extLst>
          </p:cNvPr>
          <p:cNvSpPr/>
          <p:nvPr/>
        </p:nvSpPr>
        <p:spPr>
          <a:xfrm rot="20355676" flipH="1">
            <a:off x="9197781" y="4101058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88EFA3B-802D-A0BE-EE5B-CE86E7913478}"/>
              </a:ext>
            </a:extLst>
          </p:cNvPr>
          <p:cNvSpPr/>
          <p:nvPr/>
        </p:nvSpPr>
        <p:spPr>
          <a:xfrm rot="20202500">
            <a:off x="6511003" y="4875711"/>
            <a:ext cx="464245" cy="1122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A912A3D-D971-85DC-A574-45B815661571}"/>
              </a:ext>
            </a:extLst>
          </p:cNvPr>
          <p:cNvSpPr/>
          <p:nvPr/>
        </p:nvSpPr>
        <p:spPr>
          <a:xfrm flipH="1">
            <a:off x="5198688" y="4678034"/>
            <a:ext cx="1284384" cy="128438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9CF7506-0120-3FF6-2E61-AB1D5C114251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866F998-F7AD-447E-BAE1-D9C93B58FE30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4F913FAE-3FC2-FA78-2235-09C07D9C41EB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 dirty="0"/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159DCC8-0422-C869-1C28-468406181633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57C7D9F-4B33-E4A7-8538-F041327F1B7F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A56E0AB-8946-9370-34DE-C4E926E41410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D8684090-0932-C350-DBB5-CAD0EADA7116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6DCACA59-9EE2-FD81-A746-8AEE960F9E12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6FB4CCA-6EB3-E90E-C934-F75BBB8DF0A8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A738D8CB-4AE7-28EA-30BD-68D706120BD2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703924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9</TotalTime>
  <Words>47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d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24</cp:revision>
  <dcterms:created xsi:type="dcterms:W3CDTF">2021-03-31T02:49:57Z</dcterms:created>
  <dcterms:modified xsi:type="dcterms:W3CDTF">2025-10-15T03:43:37Z</dcterms:modified>
  <cp:category/>
</cp:coreProperties>
</file>